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4"/>
  </p:notesMasterIdLst>
  <p:sldIdLst>
    <p:sldId id="389" r:id="rId2"/>
    <p:sldId id="390" r:id="rId3"/>
  </p:sldIdLst>
  <p:sldSz cx="9906000" cy="6858000" type="A4"/>
  <p:notesSz cx="6797675" cy="9926638"/>
  <p:custDataLst>
    <p:tags r:id="rId5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44" autoAdjust="0"/>
  </p:normalViewPr>
  <p:slideViewPr>
    <p:cSldViewPr>
      <p:cViewPr varScale="1">
        <p:scale>
          <a:sx n="85" d="100"/>
          <a:sy n="85" d="100"/>
        </p:scale>
        <p:origin x="648" y="96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t>09.1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ru.gosuslugi.culture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apps.apple.com/ru/app/id1581979387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ochtabank.ru/map" TargetMode="External"/><Relationship Id="rId5" Type="http://schemas.openxmlformats.org/officeDocument/2006/relationships/hyperlink" Target="https://culture.gosuslugi.ru/" TargetMode="External"/><Relationship Id="rId4" Type="http://schemas.openxmlformats.org/officeDocument/2006/relationships/hyperlink" Target="https://appgallery.huawei.com/app/C10466206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07" y="805955"/>
            <a:ext cx="9281405" cy="506691"/>
          </a:xfrm>
        </p:spPr>
        <p:txBody>
          <a:bodyPr/>
          <a:lstStyle/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дтверждение личности это полный доступ ко все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слугам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ртала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а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самостоятельно с 14 ле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6935" y="1808489"/>
            <a:ext cx="4256016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рублей- 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, так и по всей стране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2869980"/>
            <a:ext cx="4256120" cy="234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484" y="2869980"/>
            <a:ext cx="4388751" cy="235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832182" y="1808489"/>
            <a:ext cx="5028037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страны- 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76407" y="306001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Услуга ЕСИА в сельской местност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42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9461" y="1464433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98317" y="1462229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7975" y="5733320"/>
            <a:ext cx="9281405" cy="5066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в ОПС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Хатажукай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о адресу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: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385462,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Республика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Адыгея,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Шовгеновский р-н,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а. </a:t>
            </a:r>
            <a:r>
              <a:rPr lang="ru-RU" sz="1600" b="0" dirty="0" err="1">
                <a:solidFill>
                  <a:schemeClr val="accent1">
                    <a:lumMod val="50000"/>
                  </a:schemeClr>
                </a:solidFill>
              </a:rPr>
              <a:t>Пшичо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л.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Ленина, </a:t>
            </a:r>
            <a:r>
              <a:rPr lang="ru-RU" sz="1600" b="0" dirty="0" err="1">
                <a:solidFill>
                  <a:schemeClr val="accent1">
                    <a:lumMod val="50000"/>
                  </a:schemeClr>
                </a:solidFill>
              </a:rPr>
              <a:t>влд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. 53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4410" y="296801"/>
            <a:ext cx="6980500" cy="506314"/>
          </a:xfrm>
        </p:spPr>
        <p:txBody>
          <a:bodyPr/>
          <a:lstStyle/>
          <a:p>
            <a:r>
              <a:rPr lang="ru-RU" dirty="0">
                <a:solidFill>
                  <a:srgbClr val="0070C0"/>
                </a:solidFill>
              </a:rPr>
              <a:t>Как оформить Пушкинскую карту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632400" y="1196690"/>
            <a:ext cx="9001250" cy="54727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Зарегистрируйтес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а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одтвердите учётную запись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можно сделать с 14 лет, после получения </a:t>
            </a:r>
            <a:r>
              <a:rPr lang="ru-RU" sz="1400" b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а в ОПС по Макропрограмме.</a:t>
            </a:r>
          </a:p>
          <a:p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Установ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е приложение «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ультура»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о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 в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AppStor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Googl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la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и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AppGaller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QR-код для скачивания приложения размещён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на </a:t>
            </a:r>
            <a:r>
              <a:rPr lang="ru-RU" sz="1400" b="0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Госуслугах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Подтверд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уск Пушкинской карты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ы можете оформить виртуальную карту «Мир» прямо в приложении или получить пластиковую карту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в отделении Почта Банка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дъявив паспорт и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ЛС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ерите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е из афиши в приложении или на сайте  «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.РФ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и оплатите билет картой. При покупке билетов на сайте самой культурной организации или через кассу убедитесь, что организация участвует в программе. При покупке на сайте ищите кнопку «Оплатить Пушкинской картой»</a:t>
            </a:r>
          </a:p>
          <a:p>
            <a:pPr marL="457200" indent="-457200">
              <a:buFontTx/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r>
              <a:rPr lang="ru-RU" sz="1000" dirty="0" smtClean="0"/>
              <a:t>«</a:t>
            </a:r>
            <a:r>
              <a:rPr lang="ru-RU" sz="1000" dirty="0"/>
              <a:t>Пушкинская карта» – это проект для молодежи от 14 до 22 лет. Лимит в 5 000 рублей можно использовать, чтобы купить билеты в музеи, театры, на выставки, экскурсии, мастер-классы и даже в </a:t>
            </a:r>
            <a:r>
              <a:rPr lang="ru-RU" sz="1000" dirty="0" smtClean="0"/>
              <a:t>кино. Воспользоваться можно по всей России.</a:t>
            </a:r>
            <a:endParaRPr lang="ru-RU" sz="1000" dirty="0"/>
          </a:p>
        </p:txBody>
      </p:sp>
      <p:pic>
        <p:nvPicPr>
          <p:cNvPr id="2050" name="Picture 2" descr="https://gu-st.ru/landings-st/assets/svg/culture/girl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4149100"/>
            <a:ext cx="1371678" cy="142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8795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08</TotalTime>
  <Words>339</Words>
  <Application>Microsoft Office PowerPoint</Application>
  <PresentationFormat>Лист A4 (210x297 мм)</PresentationFormat>
  <Paragraphs>27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7" baseType="lpstr">
      <vt:lpstr>Arial</vt:lpstr>
      <vt:lpstr>Calibri</vt:lpstr>
      <vt:lpstr>Times New Roman</vt:lpstr>
      <vt:lpstr>1_Тема Office</vt:lpstr>
      <vt:lpstr>think-cell Slide</vt:lpstr>
      <vt:lpstr>Подтверждение личности это полный доступ ко всем услугам портала Госуслуг Подтверждать личность на портале Госуслуг можно самостоятельно с 14 лет </vt:lpstr>
      <vt:lpstr>Как оформить Пушкинскую карт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Смолина Жанна Рудольфовна</cp:lastModifiedBy>
  <cp:revision>799</cp:revision>
  <cp:lastPrinted>2022-10-12T06:08:00Z</cp:lastPrinted>
  <dcterms:created xsi:type="dcterms:W3CDTF">2021-07-19T08:04:33Z</dcterms:created>
  <dcterms:modified xsi:type="dcterms:W3CDTF">2022-11-09T13:30:49Z</dcterms:modified>
</cp:coreProperties>
</file>